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6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Manuf" id="{0AB7926E-C6B1-4E46-BF2C-AB99F951265B}">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Price Point Comparison Analysis by Product" id="{CEF5F876-8667-4AB2-BF77-87398769EAFE}">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Price Point Distribution Analysis By Brand" id="{8A5A719D-8205-45AD-B518-C41E8D6D5933}">
          <p14:sldIdLst>
            <p14:sldId id="2147477407"/>
            <p14:sldId id="2147477408"/>
            <p14:sldId id="2147477409"/>
            <p14:sldId id="2147477410"/>
            <p14:sldId id="2147477411"/>
            <p14:sldId id="2147477412"/>
            <p14:sldId id="2147477413"/>
            <p14:sldId id="2147477414"/>
            <p14:sldId id="2147477415"/>
            <p14:sldId id="2147477416"/>
            <p14:sldId id="2147477417"/>
          </p14:sldIdLst>
        </p14:section>
        <p14:section name="Price Point Distribution By Brand By Sector" id="{2870F04C-D9CB-41CF-A15F-F41DD6832C3B}">
          <p14:sldIdLst>
            <p14:sldId id="2147477418"/>
            <p14:sldId id="2147477419"/>
            <p14:sldId id="2147477420"/>
          </p14:sldIdLst>
        </p14:section>
        <p14:section name="Price Point Distribution By Brand By Segment" id="{B6CD844E-78F0-43E6-B078-F461904F885B}">
          <p14:sldIdLst>
            <p14:sldId id="2147477421"/>
            <p14:sldId id="2147477422"/>
            <p14:sldId id="2147477423"/>
            <p14:sldId id="2147477424"/>
            <p14:sldId id="2147477425"/>
            <p14:sldId id="214747742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1216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88391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655806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824429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47890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3842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894498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70820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7713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48018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414526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86725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83339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98858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11158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969469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391616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977801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428032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821102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45675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34975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852232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492731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764676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380156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178935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890079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05353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642412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507546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529337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746579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692882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421522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708498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768185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838622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4733798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919711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1896595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262667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833284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20958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855003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611837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506800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396076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203896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877734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017911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795666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522290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521049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39688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081778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421933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307176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776875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37749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4111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1133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7087</Words>
  <Application>Microsoft Office PowerPoint</Application>
  <PresentationFormat>On-screen Show (16:9)</PresentationFormat>
  <Paragraphs>3290</Paragraphs>
  <Slides>6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1"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8-18T10:5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